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147473039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0" d="100"/>
          <a:sy n="60" d="100"/>
        </p:scale>
        <p:origin x="888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841B2E8-AAB6-45FC-99D3-38B64C36D3A4}" type="datetimeFigureOut">
              <a:rPr lang="zh-CN" altLang="en-US" smtClean="0"/>
              <a:t>2025/9/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D478181-5CA8-4044-ABF6-10140348886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902817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671117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1514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4075610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882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939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132111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8999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34740664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2A745A6B-B141-826D-E4E5-D4DCA480FA6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幻灯片" r:id="rId5" imgW="383" imgH="384" progId="TCLayout.ActiveDocument.1">
                  <p:embed/>
                </p:oleObj>
              </mc:Choice>
              <mc:Fallback>
                <p:oleObj name="think-cell 幻灯片" r:id="rId5" imgW="383" imgH="38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A745A6B-B141-826D-E4E5-D4DCA480FA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E2607D4-5F20-E06E-06CC-C28933B98E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sp>
        <p:nvSpPr>
          <p:cNvPr id="8" name="Freihandform: Form 7">
            <a:extLst>
              <a:ext uri="{FF2B5EF4-FFF2-40B4-BE49-F238E27FC236}">
                <a16:creationId xmlns:a16="http://schemas.microsoft.com/office/drawing/2014/main" id="{23602F2F-DF81-AA3C-B228-1802CEF96BFD}"/>
              </a:ext>
            </a:extLst>
          </p:cNvPr>
          <p:cNvSpPr>
            <a:spLocks/>
          </p:cNvSpPr>
          <p:nvPr/>
        </p:nvSpPr>
        <p:spPr bwMode="auto">
          <a:xfrm>
            <a:off x="3496870" y="2321334"/>
            <a:ext cx="1103654" cy="686301"/>
          </a:xfrm>
          <a:custGeom>
            <a:avLst/>
            <a:gdLst>
              <a:gd name="connsiteX0" fmla="*/ 211359 w 1103654"/>
              <a:gd name="connsiteY0" fmla="*/ 0 h 686301"/>
              <a:gd name="connsiteX1" fmla="*/ 1103654 w 1103654"/>
              <a:gd name="connsiteY1" fmla="*/ 0 h 686301"/>
              <a:gd name="connsiteX2" fmla="*/ 991662 w 1103654"/>
              <a:gd name="connsiteY2" fmla="*/ 686301 h 686301"/>
              <a:gd name="connsiteX3" fmla="*/ 0 w 1103654"/>
              <a:gd name="connsiteY3" fmla="*/ 686301 h 6863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654" h="686301">
                <a:moveTo>
                  <a:pt x="211359" y="0"/>
                </a:moveTo>
                <a:lnTo>
                  <a:pt x="1103654" y="0"/>
                </a:lnTo>
                <a:lnTo>
                  <a:pt x="991662" y="686301"/>
                </a:lnTo>
                <a:lnTo>
                  <a:pt x="0" y="686301"/>
                </a:lnTo>
                <a:close/>
              </a:path>
            </a:pathLst>
          </a:custGeom>
          <a:noFill/>
          <a:ln w="6350">
            <a:solidFill>
              <a:schemeClr val="accent5"/>
            </a:solidFill>
            <a:miter lim="800000"/>
            <a:headEnd/>
            <a:tailEnd/>
          </a:ln>
          <a:effectLst/>
        </p:spPr>
        <p:txBody>
          <a:bodyPr wrap="square" lIns="72000" tIns="0" rIns="0" bIns="0" anchor="ctr">
            <a:noAutofit/>
          </a:bodyPr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5</a:t>
            </a:r>
          </a:p>
        </p:txBody>
      </p:sp>
      <p:sp>
        <p:nvSpPr>
          <p:cNvPr id="10" name="Freihandform: Form 9">
            <a:extLst>
              <a:ext uri="{FF2B5EF4-FFF2-40B4-BE49-F238E27FC236}">
                <a16:creationId xmlns:a16="http://schemas.microsoft.com/office/drawing/2014/main" id="{F1A42F78-D20A-88DB-2F54-BEEC8B0538F0}"/>
              </a:ext>
            </a:extLst>
          </p:cNvPr>
          <p:cNvSpPr>
            <a:spLocks/>
          </p:cNvSpPr>
          <p:nvPr/>
        </p:nvSpPr>
        <p:spPr bwMode="auto">
          <a:xfrm>
            <a:off x="3261583" y="3085330"/>
            <a:ext cx="1224348" cy="686301"/>
          </a:xfrm>
          <a:custGeom>
            <a:avLst/>
            <a:gdLst>
              <a:gd name="connsiteX0" fmla="*/ 211359 w 1224348"/>
              <a:gd name="connsiteY0" fmla="*/ 0 h 686301"/>
              <a:gd name="connsiteX1" fmla="*/ 1224348 w 1224348"/>
              <a:gd name="connsiteY1" fmla="*/ 0 h 686301"/>
              <a:gd name="connsiteX2" fmla="*/ 1112356 w 1224348"/>
              <a:gd name="connsiteY2" fmla="*/ 686301 h 686301"/>
              <a:gd name="connsiteX3" fmla="*/ 0 w 1224348"/>
              <a:gd name="connsiteY3" fmla="*/ 686301 h 6863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4348" h="686301">
                <a:moveTo>
                  <a:pt x="211359" y="0"/>
                </a:moveTo>
                <a:lnTo>
                  <a:pt x="1224348" y="0"/>
                </a:lnTo>
                <a:lnTo>
                  <a:pt x="1112356" y="686301"/>
                </a:lnTo>
                <a:lnTo>
                  <a:pt x="0" y="686301"/>
                </a:lnTo>
                <a:close/>
              </a:path>
            </a:pathLst>
          </a:custGeom>
          <a:noFill/>
          <a:ln w="6350">
            <a:solidFill>
              <a:schemeClr val="accent5"/>
            </a:solidFill>
            <a:miter lim="800000"/>
            <a:headEnd/>
            <a:tailEnd/>
          </a:ln>
          <a:effectLst/>
        </p:spPr>
        <p:txBody>
          <a:bodyPr wrap="square" lIns="72000" tIns="0" rIns="0" bIns="0" anchor="ctr">
            <a:noAutofit/>
          </a:bodyPr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4</a:t>
            </a:r>
          </a:p>
        </p:txBody>
      </p:sp>
      <p:sp>
        <p:nvSpPr>
          <p:cNvPr id="13" name="Freihandform: Form 12">
            <a:extLst>
              <a:ext uri="{FF2B5EF4-FFF2-40B4-BE49-F238E27FC236}">
                <a16:creationId xmlns:a16="http://schemas.microsoft.com/office/drawing/2014/main" id="{2E9B044F-274D-22CE-3436-97845716969F}"/>
              </a:ext>
            </a:extLst>
          </p:cNvPr>
          <p:cNvSpPr>
            <a:spLocks/>
          </p:cNvSpPr>
          <p:nvPr/>
        </p:nvSpPr>
        <p:spPr bwMode="auto">
          <a:xfrm>
            <a:off x="3028058" y="3849446"/>
            <a:ext cx="1332264" cy="680463"/>
          </a:xfrm>
          <a:custGeom>
            <a:avLst/>
            <a:gdLst>
              <a:gd name="connsiteX0" fmla="*/ 209561 w 1332264"/>
              <a:gd name="connsiteY0" fmla="*/ 0 h 680463"/>
              <a:gd name="connsiteX1" fmla="*/ 1332264 w 1332264"/>
              <a:gd name="connsiteY1" fmla="*/ 2412 h 680463"/>
              <a:gd name="connsiteX2" fmla="*/ 1228533 w 1332264"/>
              <a:gd name="connsiteY2" fmla="*/ 680463 h 680463"/>
              <a:gd name="connsiteX3" fmla="*/ 0 w 1332264"/>
              <a:gd name="connsiteY3" fmla="*/ 680463 h 680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32264" h="680463">
                <a:moveTo>
                  <a:pt x="209561" y="0"/>
                </a:moveTo>
                <a:lnTo>
                  <a:pt x="1332264" y="2412"/>
                </a:lnTo>
                <a:lnTo>
                  <a:pt x="1228533" y="680463"/>
                </a:lnTo>
                <a:lnTo>
                  <a:pt x="0" y="680463"/>
                </a:lnTo>
                <a:close/>
              </a:path>
            </a:pathLst>
          </a:custGeom>
          <a:noFill/>
          <a:ln w="6350">
            <a:solidFill>
              <a:schemeClr val="accent5"/>
            </a:solidFill>
            <a:miter lim="800000"/>
            <a:headEnd/>
            <a:tailEnd/>
          </a:ln>
          <a:effectLst/>
        </p:spPr>
        <p:txBody>
          <a:bodyPr wrap="square" lIns="72000" tIns="0" rIns="0" bIns="0" anchor="ctr">
            <a:noAutofit/>
          </a:bodyPr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3</a:t>
            </a:r>
          </a:p>
        </p:txBody>
      </p:sp>
      <p:sp>
        <p:nvSpPr>
          <p:cNvPr id="22" name="Freihandform: Form 21">
            <a:extLst>
              <a:ext uri="{FF2B5EF4-FFF2-40B4-BE49-F238E27FC236}">
                <a16:creationId xmlns:a16="http://schemas.microsoft.com/office/drawing/2014/main" id="{5755A64E-15A3-CDC8-76D5-FA4E4D142CA5}"/>
              </a:ext>
            </a:extLst>
          </p:cNvPr>
          <p:cNvSpPr>
            <a:spLocks/>
          </p:cNvSpPr>
          <p:nvPr/>
        </p:nvSpPr>
        <p:spPr bwMode="auto">
          <a:xfrm>
            <a:off x="2792771" y="4607731"/>
            <a:ext cx="1450204" cy="686173"/>
          </a:xfrm>
          <a:custGeom>
            <a:avLst/>
            <a:gdLst>
              <a:gd name="connsiteX0" fmla="*/ 211320 w 1450204"/>
              <a:gd name="connsiteY0" fmla="*/ 0 h 686173"/>
              <a:gd name="connsiteX1" fmla="*/ 1450204 w 1450204"/>
              <a:gd name="connsiteY1" fmla="*/ 2403 h 686173"/>
              <a:gd name="connsiteX2" fmla="*/ 1344267 w 1450204"/>
              <a:gd name="connsiteY2" fmla="*/ 686173 h 686173"/>
              <a:gd name="connsiteX3" fmla="*/ 0 w 1450204"/>
              <a:gd name="connsiteY3" fmla="*/ 686173 h 6861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50204" h="686173">
                <a:moveTo>
                  <a:pt x="211320" y="0"/>
                </a:moveTo>
                <a:lnTo>
                  <a:pt x="1450204" y="2403"/>
                </a:lnTo>
                <a:lnTo>
                  <a:pt x="1344267" y="686173"/>
                </a:lnTo>
                <a:lnTo>
                  <a:pt x="0" y="686173"/>
                </a:lnTo>
                <a:close/>
              </a:path>
            </a:pathLst>
          </a:custGeom>
          <a:noFill/>
          <a:ln w="6350">
            <a:solidFill>
              <a:schemeClr val="accent5"/>
            </a:solidFill>
            <a:miter lim="800000"/>
            <a:headEnd/>
            <a:tailEnd/>
          </a:ln>
          <a:effectLst/>
        </p:spPr>
        <p:txBody>
          <a:bodyPr wrap="square" lIns="72000" tIns="0" rIns="0" bIns="0" anchor="ctr">
            <a:noAutofit/>
          </a:bodyPr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2</a:t>
            </a:r>
          </a:p>
        </p:txBody>
      </p:sp>
      <p:sp>
        <p:nvSpPr>
          <p:cNvPr id="24" name="Freihandform: Form 23">
            <a:extLst>
              <a:ext uri="{FF2B5EF4-FFF2-40B4-BE49-F238E27FC236}">
                <a16:creationId xmlns:a16="http://schemas.microsoft.com/office/drawing/2014/main" id="{212F95C8-655F-F379-2F91-CD430F97787C}"/>
              </a:ext>
            </a:extLst>
          </p:cNvPr>
          <p:cNvSpPr>
            <a:spLocks/>
          </p:cNvSpPr>
          <p:nvPr/>
        </p:nvSpPr>
        <p:spPr bwMode="auto">
          <a:xfrm>
            <a:off x="2557485" y="5371598"/>
            <a:ext cx="1562636" cy="686301"/>
          </a:xfrm>
          <a:custGeom>
            <a:avLst/>
            <a:gdLst>
              <a:gd name="connsiteX0" fmla="*/ 211359 w 1562636"/>
              <a:gd name="connsiteY0" fmla="*/ 0 h 686301"/>
              <a:gd name="connsiteX1" fmla="*/ 1562636 w 1562636"/>
              <a:gd name="connsiteY1" fmla="*/ 0 h 686301"/>
              <a:gd name="connsiteX2" fmla="*/ 1458854 w 1562636"/>
              <a:gd name="connsiteY2" fmla="*/ 686301 h 686301"/>
              <a:gd name="connsiteX3" fmla="*/ 0 w 1562636"/>
              <a:gd name="connsiteY3" fmla="*/ 686301 h 6863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62636" h="686301">
                <a:moveTo>
                  <a:pt x="211359" y="0"/>
                </a:moveTo>
                <a:lnTo>
                  <a:pt x="1562636" y="0"/>
                </a:lnTo>
                <a:lnTo>
                  <a:pt x="1458854" y="686301"/>
                </a:lnTo>
                <a:lnTo>
                  <a:pt x="0" y="686301"/>
                </a:lnTo>
                <a:close/>
              </a:path>
            </a:pathLst>
          </a:custGeom>
          <a:noFill/>
          <a:ln w="6350">
            <a:solidFill>
              <a:schemeClr val="accent5"/>
            </a:solidFill>
            <a:miter lim="800000"/>
            <a:headEnd/>
            <a:tailEnd/>
          </a:ln>
          <a:effectLst/>
        </p:spPr>
        <p:txBody>
          <a:bodyPr wrap="square" lIns="72000" tIns="0" rIns="0" bIns="0" anchor="ctr">
            <a:noAutofit/>
          </a:bodyPr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1</a:t>
            </a:r>
          </a:p>
        </p:txBody>
      </p:sp>
      <p:sp>
        <p:nvSpPr>
          <p:cNvPr id="6" name="Freihandform: Form 5">
            <a:extLst>
              <a:ext uri="{FF2B5EF4-FFF2-40B4-BE49-F238E27FC236}">
                <a16:creationId xmlns:a16="http://schemas.microsoft.com/office/drawing/2014/main" id="{8380E168-1783-66E4-AF55-43485DB53190}"/>
              </a:ext>
            </a:extLst>
          </p:cNvPr>
          <p:cNvSpPr>
            <a:spLocks/>
          </p:cNvSpPr>
          <p:nvPr/>
        </p:nvSpPr>
        <p:spPr bwMode="auto">
          <a:xfrm>
            <a:off x="3732156" y="1557338"/>
            <a:ext cx="990581" cy="686301"/>
          </a:xfrm>
          <a:custGeom>
            <a:avLst/>
            <a:gdLst>
              <a:gd name="connsiteX0" fmla="*/ 189659 w 990581"/>
              <a:gd name="connsiteY0" fmla="*/ 0 h 686301"/>
              <a:gd name="connsiteX1" fmla="*/ 990581 w 990581"/>
              <a:gd name="connsiteY1" fmla="*/ 0 h 686301"/>
              <a:gd name="connsiteX2" fmla="*/ 878513 w 990581"/>
              <a:gd name="connsiteY2" fmla="*/ 686301 h 686301"/>
              <a:gd name="connsiteX3" fmla="*/ 0 w 990581"/>
              <a:gd name="connsiteY3" fmla="*/ 686301 h 686301"/>
              <a:gd name="connsiteX4" fmla="*/ 211359 w 990581"/>
              <a:gd name="connsiteY4" fmla="*/ 1 h 686301"/>
              <a:gd name="connsiteX5" fmla="*/ 189658 w 990581"/>
              <a:gd name="connsiteY5" fmla="*/ 1 h 686301"/>
              <a:gd name="connsiteX0" fmla="*/ 189658 w 990581"/>
              <a:gd name="connsiteY0" fmla="*/ 1 h 686301"/>
              <a:gd name="connsiteX1" fmla="*/ 990581 w 990581"/>
              <a:gd name="connsiteY1" fmla="*/ 0 h 686301"/>
              <a:gd name="connsiteX2" fmla="*/ 878513 w 990581"/>
              <a:gd name="connsiteY2" fmla="*/ 686301 h 686301"/>
              <a:gd name="connsiteX3" fmla="*/ 0 w 990581"/>
              <a:gd name="connsiteY3" fmla="*/ 686301 h 686301"/>
              <a:gd name="connsiteX4" fmla="*/ 211359 w 990581"/>
              <a:gd name="connsiteY4" fmla="*/ 1 h 686301"/>
              <a:gd name="connsiteX5" fmla="*/ 189658 w 990581"/>
              <a:gd name="connsiteY5" fmla="*/ 1 h 686301"/>
              <a:gd name="connsiteX0" fmla="*/ 211359 w 990581"/>
              <a:gd name="connsiteY0" fmla="*/ 1 h 686301"/>
              <a:gd name="connsiteX1" fmla="*/ 990581 w 990581"/>
              <a:gd name="connsiteY1" fmla="*/ 0 h 686301"/>
              <a:gd name="connsiteX2" fmla="*/ 878513 w 990581"/>
              <a:gd name="connsiteY2" fmla="*/ 686301 h 686301"/>
              <a:gd name="connsiteX3" fmla="*/ 0 w 990581"/>
              <a:gd name="connsiteY3" fmla="*/ 686301 h 686301"/>
              <a:gd name="connsiteX4" fmla="*/ 211359 w 990581"/>
              <a:gd name="connsiteY4" fmla="*/ 1 h 6863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0581" h="686301">
                <a:moveTo>
                  <a:pt x="211359" y="1"/>
                </a:moveTo>
                <a:lnTo>
                  <a:pt x="990581" y="0"/>
                </a:lnTo>
                <a:lnTo>
                  <a:pt x="878513" y="686301"/>
                </a:lnTo>
                <a:lnTo>
                  <a:pt x="0" y="686301"/>
                </a:lnTo>
                <a:lnTo>
                  <a:pt x="211359" y="1"/>
                </a:lnTo>
                <a:close/>
              </a:path>
            </a:pathLst>
          </a:custGeom>
          <a:noFill/>
          <a:ln w="6350">
            <a:solidFill>
              <a:schemeClr val="accent5"/>
            </a:solidFill>
            <a:miter lim="800000"/>
            <a:headEnd/>
            <a:tailEnd/>
          </a:ln>
          <a:effectLst/>
        </p:spPr>
        <p:txBody>
          <a:bodyPr wrap="square" lIns="72000" tIns="0" rIns="0" bIns="0" anchor="ctr">
            <a:noAutofit/>
          </a:bodyPr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6</a:t>
            </a:r>
          </a:p>
        </p:txBody>
      </p:sp>
      <p:sp>
        <p:nvSpPr>
          <p:cNvPr id="14" name="Freihandform 42">
            <a:extLst>
              <a:ext uri="{FF2B5EF4-FFF2-40B4-BE49-F238E27FC236}">
                <a16:creationId xmlns:a16="http://schemas.microsoft.com/office/drawing/2014/main" id="{C4D8880F-1757-E0C2-3174-045E841E4D90}"/>
              </a:ext>
            </a:extLst>
          </p:cNvPr>
          <p:cNvSpPr>
            <a:spLocks/>
          </p:cNvSpPr>
          <p:nvPr/>
        </p:nvSpPr>
        <p:spPr bwMode="auto">
          <a:xfrm>
            <a:off x="4707221" y="1557338"/>
            <a:ext cx="7046745" cy="686301"/>
          </a:xfrm>
          <a:custGeom>
            <a:avLst/>
            <a:gdLst>
              <a:gd name="connsiteX0" fmla="*/ 94698 w 5991059"/>
              <a:gd name="connsiteY0" fmla="*/ 0 h 731500"/>
              <a:gd name="connsiteX1" fmla="*/ 5991059 w 5991059"/>
              <a:gd name="connsiteY1" fmla="*/ 0 h 731500"/>
              <a:gd name="connsiteX2" fmla="*/ 5991059 w 5991059"/>
              <a:gd name="connsiteY2" fmla="*/ 731500 h 731500"/>
              <a:gd name="connsiteX3" fmla="*/ 0 w 5991059"/>
              <a:gd name="connsiteY3" fmla="*/ 731500 h 731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91059" h="731500">
                <a:moveTo>
                  <a:pt x="94698" y="0"/>
                </a:moveTo>
                <a:lnTo>
                  <a:pt x="5991059" y="0"/>
                </a:lnTo>
                <a:lnTo>
                  <a:pt x="5991059" y="731500"/>
                </a:lnTo>
                <a:lnTo>
                  <a:pt x="0" y="731500"/>
                </a:lnTo>
                <a:close/>
              </a:path>
            </a:pathLst>
          </a:custGeom>
          <a:noFill/>
          <a:ln w="6350">
            <a:solidFill>
              <a:schemeClr val="accent5"/>
            </a:solidFill>
            <a:miter lim="800000"/>
            <a:headEnd/>
            <a:tailEnd/>
          </a:ln>
          <a:effectLst/>
        </p:spPr>
        <p:txBody>
          <a:bodyPr wrap="square" lIns="252000" tIns="0" rIns="72000" bIns="0" anchor="ctr">
            <a:noAutofit/>
          </a:bodyPr>
          <a:lstStyle/>
          <a:p>
            <a:pPr lvl="0">
              <a:buClr>
                <a:srgbClr val="000000"/>
              </a:buClr>
              <a:defRPr/>
            </a:pPr>
            <a:r>
              <a:rPr lang="en-US" altLang="zh-CN" sz="1600" b="1" dirty="0">
                <a:solidFill>
                  <a:srgbClr val="03522D"/>
                </a:solidFill>
                <a:sym typeface="Futura"/>
              </a:rPr>
              <a:t>{bullet_6}</a:t>
            </a:r>
          </a:p>
          <a:p>
            <a:pPr lvl="0" defTabSz="1087636">
              <a:defRPr/>
            </a:pPr>
            <a:r>
              <a:rPr lang="en-US" altLang="zh-CN" sz="1400" dirty="0">
                <a:solidFill>
                  <a:srgbClr val="575757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{bullet_6_content,max_token-30}</a:t>
            </a:r>
          </a:p>
        </p:txBody>
      </p:sp>
      <p:sp>
        <p:nvSpPr>
          <p:cNvPr id="15" name="Freihandform 52">
            <a:extLst>
              <a:ext uri="{FF2B5EF4-FFF2-40B4-BE49-F238E27FC236}">
                <a16:creationId xmlns:a16="http://schemas.microsoft.com/office/drawing/2014/main" id="{9168B9FD-53EF-EA5C-A0AF-F594A2D26564}"/>
              </a:ext>
            </a:extLst>
          </p:cNvPr>
          <p:cNvSpPr>
            <a:spLocks/>
          </p:cNvSpPr>
          <p:nvPr/>
        </p:nvSpPr>
        <p:spPr bwMode="auto">
          <a:xfrm>
            <a:off x="4101538" y="5371598"/>
            <a:ext cx="7649138" cy="686301"/>
          </a:xfrm>
          <a:custGeom>
            <a:avLst/>
            <a:gdLst>
              <a:gd name="connsiteX0" fmla="*/ 94697 w 6504677"/>
              <a:gd name="connsiteY0" fmla="*/ 0 h 731500"/>
              <a:gd name="connsiteX1" fmla="*/ 6504677 w 6504677"/>
              <a:gd name="connsiteY1" fmla="*/ 0 h 731500"/>
              <a:gd name="connsiteX2" fmla="*/ 6504677 w 6504677"/>
              <a:gd name="connsiteY2" fmla="*/ 731500 h 731500"/>
              <a:gd name="connsiteX3" fmla="*/ 0 w 6504677"/>
              <a:gd name="connsiteY3" fmla="*/ 731500 h 731500"/>
              <a:gd name="connsiteX0" fmla="*/ 104871 w 6514851"/>
              <a:gd name="connsiteY0" fmla="*/ 0 h 735429"/>
              <a:gd name="connsiteX1" fmla="*/ 6514851 w 6514851"/>
              <a:gd name="connsiteY1" fmla="*/ 0 h 735429"/>
              <a:gd name="connsiteX2" fmla="*/ 6514851 w 6514851"/>
              <a:gd name="connsiteY2" fmla="*/ 731500 h 735429"/>
              <a:gd name="connsiteX3" fmla="*/ 0 w 6514851"/>
              <a:gd name="connsiteY3" fmla="*/ 735429 h 735429"/>
              <a:gd name="connsiteX4" fmla="*/ 104871 w 6514851"/>
              <a:gd name="connsiteY4" fmla="*/ 0 h 735429"/>
              <a:gd name="connsiteX0" fmla="*/ 93227 w 6503207"/>
              <a:gd name="connsiteY0" fmla="*/ 0 h 735429"/>
              <a:gd name="connsiteX1" fmla="*/ 6503207 w 6503207"/>
              <a:gd name="connsiteY1" fmla="*/ 0 h 735429"/>
              <a:gd name="connsiteX2" fmla="*/ 6503207 w 6503207"/>
              <a:gd name="connsiteY2" fmla="*/ 731500 h 735429"/>
              <a:gd name="connsiteX3" fmla="*/ 0 w 6503207"/>
              <a:gd name="connsiteY3" fmla="*/ 735429 h 735429"/>
              <a:gd name="connsiteX4" fmla="*/ 93227 w 6503207"/>
              <a:gd name="connsiteY4" fmla="*/ 0 h 7354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03207" h="735429">
                <a:moveTo>
                  <a:pt x="93227" y="0"/>
                </a:moveTo>
                <a:lnTo>
                  <a:pt x="6503207" y="0"/>
                </a:lnTo>
                <a:lnTo>
                  <a:pt x="6503207" y="731500"/>
                </a:lnTo>
                <a:lnTo>
                  <a:pt x="0" y="735429"/>
                </a:lnTo>
                <a:cubicBezTo>
                  <a:pt x="31566" y="491596"/>
                  <a:pt x="61661" y="243833"/>
                  <a:pt x="93227" y="0"/>
                </a:cubicBezTo>
                <a:close/>
              </a:path>
            </a:pathLst>
          </a:custGeom>
          <a:noFill/>
          <a:ln w="6350">
            <a:solidFill>
              <a:schemeClr val="accent5"/>
            </a:solidFill>
            <a:miter lim="800000"/>
            <a:headEnd/>
            <a:tailEnd/>
          </a:ln>
          <a:effectLst/>
        </p:spPr>
        <p:txBody>
          <a:bodyPr wrap="square" lIns="252000" tIns="0" rIns="72000" bIns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1}</a:t>
            </a:r>
          </a:p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Open Sans Light" panose="020B0306030504020204" pitchFamily="34" charset="0"/>
                <a:cs typeface="Open Sans Light" panose="020B0306030504020204" pitchFamily="34" charset="0"/>
              </a:rPr>
              <a:t>{bullet_1_content,max_token-30}</a:t>
            </a:r>
          </a:p>
        </p:txBody>
      </p:sp>
      <p:sp>
        <p:nvSpPr>
          <p:cNvPr id="16" name="Freihandform 46">
            <a:extLst>
              <a:ext uri="{FF2B5EF4-FFF2-40B4-BE49-F238E27FC236}">
                <a16:creationId xmlns:a16="http://schemas.microsoft.com/office/drawing/2014/main" id="{28CECC2B-CDC2-A70B-CEE2-E8B735A3E7AE}"/>
              </a:ext>
            </a:extLst>
          </p:cNvPr>
          <p:cNvSpPr>
            <a:spLocks/>
          </p:cNvSpPr>
          <p:nvPr/>
        </p:nvSpPr>
        <p:spPr bwMode="auto">
          <a:xfrm>
            <a:off x="4468671" y="3085330"/>
            <a:ext cx="7283998" cy="686301"/>
          </a:xfrm>
          <a:custGeom>
            <a:avLst/>
            <a:gdLst>
              <a:gd name="connsiteX0" fmla="*/ 94697 w 6196506"/>
              <a:gd name="connsiteY0" fmla="*/ 0 h 731500"/>
              <a:gd name="connsiteX1" fmla="*/ 6196506 w 6196506"/>
              <a:gd name="connsiteY1" fmla="*/ 0 h 731500"/>
              <a:gd name="connsiteX2" fmla="*/ 6196506 w 6196506"/>
              <a:gd name="connsiteY2" fmla="*/ 731500 h 731500"/>
              <a:gd name="connsiteX3" fmla="*/ 0 w 6196506"/>
              <a:gd name="connsiteY3" fmla="*/ 731500 h 731500"/>
              <a:gd name="connsiteX0" fmla="*/ 87712 w 6189521"/>
              <a:gd name="connsiteY0" fmla="*/ 0 h 731500"/>
              <a:gd name="connsiteX1" fmla="*/ 6189521 w 6189521"/>
              <a:gd name="connsiteY1" fmla="*/ 0 h 731500"/>
              <a:gd name="connsiteX2" fmla="*/ 6189521 w 6189521"/>
              <a:gd name="connsiteY2" fmla="*/ 731500 h 731500"/>
              <a:gd name="connsiteX3" fmla="*/ 0 w 6189521"/>
              <a:gd name="connsiteY3" fmla="*/ 731500 h 731500"/>
              <a:gd name="connsiteX4" fmla="*/ 87712 w 6189521"/>
              <a:gd name="connsiteY4" fmla="*/ 0 h 731500"/>
              <a:gd name="connsiteX0" fmla="*/ 90214 w 6192023"/>
              <a:gd name="connsiteY0" fmla="*/ 0 h 737322"/>
              <a:gd name="connsiteX1" fmla="*/ 6192023 w 6192023"/>
              <a:gd name="connsiteY1" fmla="*/ 0 h 737322"/>
              <a:gd name="connsiteX2" fmla="*/ 6192023 w 6192023"/>
              <a:gd name="connsiteY2" fmla="*/ 731500 h 737322"/>
              <a:gd name="connsiteX3" fmla="*/ 0 w 6192023"/>
              <a:gd name="connsiteY3" fmla="*/ 737322 h 737322"/>
              <a:gd name="connsiteX4" fmla="*/ 90214 w 6192023"/>
              <a:gd name="connsiteY4" fmla="*/ 0 h 737322"/>
              <a:gd name="connsiteX0" fmla="*/ 86080 w 6187889"/>
              <a:gd name="connsiteY0" fmla="*/ 0 h 739727"/>
              <a:gd name="connsiteX1" fmla="*/ 6187889 w 6187889"/>
              <a:gd name="connsiteY1" fmla="*/ 0 h 739727"/>
              <a:gd name="connsiteX2" fmla="*/ 6187889 w 6187889"/>
              <a:gd name="connsiteY2" fmla="*/ 731500 h 739727"/>
              <a:gd name="connsiteX3" fmla="*/ 0 w 6187889"/>
              <a:gd name="connsiteY3" fmla="*/ 739727 h 739727"/>
              <a:gd name="connsiteX4" fmla="*/ 86080 w 6187889"/>
              <a:gd name="connsiteY4" fmla="*/ 0 h 739727"/>
              <a:gd name="connsiteX0" fmla="*/ 90214 w 6192023"/>
              <a:gd name="connsiteY0" fmla="*/ 0 h 739727"/>
              <a:gd name="connsiteX1" fmla="*/ 6192023 w 6192023"/>
              <a:gd name="connsiteY1" fmla="*/ 0 h 739727"/>
              <a:gd name="connsiteX2" fmla="*/ 6192023 w 6192023"/>
              <a:gd name="connsiteY2" fmla="*/ 731500 h 739727"/>
              <a:gd name="connsiteX3" fmla="*/ 0 w 6192023"/>
              <a:gd name="connsiteY3" fmla="*/ 739727 h 739727"/>
              <a:gd name="connsiteX4" fmla="*/ 90214 w 6192023"/>
              <a:gd name="connsiteY4" fmla="*/ 0 h 7397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92023" h="739727">
                <a:moveTo>
                  <a:pt x="90214" y="0"/>
                </a:moveTo>
                <a:lnTo>
                  <a:pt x="6192023" y="0"/>
                </a:lnTo>
                <a:lnTo>
                  <a:pt x="6192023" y="731500"/>
                </a:lnTo>
                <a:lnTo>
                  <a:pt x="0" y="739727"/>
                </a:lnTo>
                <a:cubicBezTo>
                  <a:pt x="31566" y="495894"/>
                  <a:pt x="58648" y="243833"/>
                  <a:pt x="90214" y="0"/>
                </a:cubicBezTo>
                <a:close/>
              </a:path>
            </a:pathLst>
          </a:custGeom>
          <a:noFill/>
          <a:ln w="6350">
            <a:solidFill>
              <a:schemeClr val="accent5"/>
            </a:solidFill>
            <a:miter lim="800000"/>
            <a:headEnd/>
            <a:tailEnd/>
          </a:ln>
          <a:effectLst/>
        </p:spPr>
        <p:txBody>
          <a:bodyPr wrap="square" lIns="252000" tIns="0" rIns="72000" bIns="0" anchor="ctr">
            <a:noAutofit/>
          </a:bodyPr>
          <a:lstStyle/>
          <a:p>
            <a:pPr lvl="0">
              <a:buClr>
                <a:srgbClr val="000000"/>
              </a:buClr>
              <a:defRPr/>
            </a:pPr>
            <a:r>
              <a:rPr lang="en-US" altLang="zh-CN" sz="1600" b="1" dirty="0">
                <a:solidFill>
                  <a:srgbClr val="03522D"/>
                </a:solidFill>
                <a:sym typeface="Futura"/>
              </a:rPr>
              <a:t>{bullet_4}</a:t>
            </a:r>
          </a:p>
          <a:p>
            <a:pPr lvl="0" defTabSz="1087636">
              <a:defRPr/>
            </a:pPr>
            <a:r>
              <a:rPr lang="en-US" altLang="zh-CN" sz="1400" dirty="0">
                <a:solidFill>
                  <a:srgbClr val="575757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{bullet_4_content,max_token-30}</a:t>
            </a:r>
          </a:p>
        </p:txBody>
      </p:sp>
      <p:sp>
        <p:nvSpPr>
          <p:cNvPr id="17" name="Freihandform 48">
            <a:extLst>
              <a:ext uri="{FF2B5EF4-FFF2-40B4-BE49-F238E27FC236}">
                <a16:creationId xmlns:a16="http://schemas.microsoft.com/office/drawing/2014/main" id="{C3DE554D-2E36-043F-1AAE-53D0A0E66135}"/>
              </a:ext>
            </a:extLst>
          </p:cNvPr>
          <p:cNvSpPr>
            <a:spLocks/>
          </p:cNvSpPr>
          <p:nvPr/>
        </p:nvSpPr>
        <p:spPr bwMode="auto">
          <a:xfrm>
            <a:off x="4351644" y="3849326"/>
            <a:ext cx="7400390" cy="680582"/>
          </a:xfrm>
          <a:custGeom>
            <a:avLst/>
            <a:gdLst>
              <a:gd name="connsiteX0" fmla="*/ 94698 w 6299230"/>
              <a:gd name="connsiteY0" fmla="*/ 0 h 731500"/>
              <a:gd name="connsiteX1" fmla="*/ 6299230 w 6299230"/>
              <a:gd name="connsiteY1" fmla="*/ 0 h 731500"/>
              <a:gd name="connsiteX2" fmla="*/ 6299230 w 6299230"/>
              <a:gd name="connsiteY2" fmla="*/ 731500 h 731500"/>
              <a:gd name="connsiteX3" fmla="*/ 0 w 6299230"/>
              <a:gd name="connsiteY3" fmla="*/ 731500 h 731500"/>
              <a:gd name="connsiteX0" fmla="*/ 87192 w 6291724"/>
              <a:gd name="connsiteY0" fmla="*/ 0 h 731500"/>
              <a:gd name="connsiteX1" fmla="*/ 6291724 w 6291724"/>
              <a:gd name="connsiteY1" fmla="*/ 0 h 731500"/>
              <a:gd name="connsiteX2" fmla="*/ 6291724 w 6291724"/>
              <a:gd name="connsiteY2" fmla="*/ 731500 h 731500"/>
              <a:gd name="connsiteX3" fmla="*/ 0 w 6291724"/>
              <a:gd name="connsiteY3" fmla="*/ 731500 h 731500"/>
              <a:gd name="connsiteX4" fmla="*/ 87192 w 6291724"/>
              <a:gd name="connsiteY4" fmla="*/ 0 h 731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91724" h="731500">
                <a:moveTo>
                  <a:pt x="87192" y="0"/>
                </a:moveTo>
                <a:lnTo>
                  <a:pt x="6291724" y="0"/>
                </a:lnTo>
                <a:lnTo>
                  <a:pt x="6291724" y="731500"/>
                </a:lnTo>
                <a:lnTo>
                  <a:pt x="0" y="731500"/>
                </a:lnTo>
                <a:cubicBezTo>
                  <a:pt x="31566" y="487667"/>
                  <a:pt x="55626" y="243833"/>
                  <a:pt x="87192" y="0"/>
                </a:cubicBezTo>
                <a:close/>
              </a:path>
            </a:pathLst>
          </a:custGeom>
          <a:noFill/>
          <a:ln w="6350">
            <a:solidFill>
              <a:schemeClr val="accent5"/>
            </a:solidFill>
            <a:miter lim="800000"/>
            <a:headEnd/>
            <a:tailEnd/>
          </a:ln>
          <a:effectLst/>
        </p:spPr>
        <p:txBody>
          <a:bodyPr wrap="square" lIns="252000" tIns="0" rIns="72000" bIns="0" anchor="ctr">
            <a:noAutofit/>
          </a:bodyPr>
          <a:lstStyle/>
          <a:p>
            <a:pPr lvl="0">
              <a:buClr>
                <a:srgbClr val="000000"/>
              </a:buClr>
              <a:defRPr/>
            </a:pPr>
            <a:r>
              <a:rPr lang="en-US" altLang="zh-CN" sz="1600" b="1" dirty="0">
                <a:solidFill>
                  <a:srgbClr val="03522D"/>
                </a:solidFill>
                <a:sym typeface="Futura"/>
              </a:rPr>
              <a:t>{bullet_3}</a:t>
            </a:r>
          </a:p>
          <a:p>
            <a:pPr lvl="0" defTabSz="1087636">
              <a:defRPr/>
            </a:pPr>
            <a:r>
              <a:rPr lang="en-US" altLang="zh-CN" sz="1400" dirty="0">
                <a:solidFill>
                  <a:srgbClr val="575757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{bullet_3_content,max_token-30}</a:t>
            </a:r>
          </a:p>
        </p:txBody>
      </p:sp>
      <p:sp>
        <p:nvSpPr>
          <p:cNvPr id="18" name="Freihandform 44">
            <a:extLst>
              <a:ext uri="{FF2B5EF4-FFF2-40B4-BE49-F238E27FC236}">
                <a16:creationId xmlns:a16="http://schemas.microsoft.com/office/drawing/2014/main" id="{A55D15C3-56F2-EC49-E680-ECFDF3869DBE}"/>
              </a:ext>
            </a:extLst>
          </p:cNvPr>
          <p:cNvSpPr>
            <a:spLocks/>
          </p:cNvSpPr>
          <p:nvPr/>
        </p:nvSpPr>
        <p:spPr bwMode="auto">
          <a:xfrm>
            <a:off x="4580848" y="2321334"/>
            <a:ext cx="7172432" cy="686301"/>
          </a:xfrm>
          <a:custGeom>
            <a:avLst/>
            <a:gdLst>
              <a:gd name="connsiteX0" fmla="*/ 94697 w 6093782"/>
              <a:gd name="connsiteY0" fmla="*/ 0 h 731500"/>
              <a:gd name="connsiteX1" fmla="*/ 6093782 w 6093782"/>
              <a:gd name="connsiteY1" fmla="*/ 0 h 731500"/>
              <a:gd name="connsiteX2" fmla="*/ 6093782 w 6093782"/>
              <a:gd name="connsiteY2" fmla="*/ 731500 h 731500"/>
              <a:gd name="connsiteX3" fmla="*/ 0 w 6093782"/>
              <a:gd name="connsiteY3" fmla="*/ 731500 h 731500"/>
              <a:gd name="connsiteX0" fmla="*/ 92630 w 6091715"/>
              <a:gd name="connsiteY0" fmla="*/ 0 h 738715"/>
              <a:gd name="connsiteX1" fmla="*/ 6091715 w 6091715"/>
              <a:gd name="connsiteY1" fmla="*/ 0 h 738715"/>
              <a:gd name="connsiteX2" fmla="*/ 6091715 w 6091715"/>
              <a:gd name="connsiteY2" fmla="*/ 731500 h 738715"/>
              <a:gd name="connsiteX3" fmla="*/ 0 w 6091715"/>
              <a:gd name="connsiteY3" fmla="*/ 738715 h 738715"/>
              <a:gd name="connsiteX4" fmla="*/ 92630 w 6091715"/>
              <a:gd name="connsiteY4" fmla="*/ 0 h 738715"/>
              <a:gd name="connsiteX0" fmla="*/ 98832 w 6097917"/>
              <a:gd name="connsiteY0" fmla="*/ 0 h 738715"/>
              <a:gd name="connsiteX1" fmla="*/ 6097917 w 6097917"/>
              <a:gd name="connsiteY1" fmla="*/ 0 h 738715"/>
              <a:gd name="connsiteX2" fmla="*/ 6097917 w 6097917"/>
              <a:gd name="connsiteY2" fmla="*/ 731500 h 738715"/>
              <a:gd name="connsiteX3" fmla="*/ 0 w 6097917"/>
              <a:gd name="connsiteY3" fmla="*/ 738715 h 738715"/>
              <a:gd name="connsiteX4" fmla="*/ 98832 w 6097917"/>
              <a:gd name="connsiteY4" fmla="*/ 0 h 738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7917" h="738715">
                <a:moveTo>
                  <a:pt x="98832" y="0"/>
                </a:moveTo>
                <a:lnTo>
                  <a:pt x="6097917" y="0"/>
                </a:lnTo>
                <a:lnTo>
                  <a:pt x="6097917" y="731500"/>
                </a:lnTo>
                <a:lnTo>
                  <a:pt x="0" y="738715"/>
                </a:lnTo>
                <a:cubicBezTo>
                  <a:pt x="31566" y="494882"/>
                  <a:pt x="67266" y="243833"/>
                  <a:pt x="98832" y="0"/>
                </a:cubicBezTo>
                <a:close/>
              </a:path>
            </a:pathLst>
          </a:custGeom>
          <a:noFill/>
          <a:ln w="6350">
            <a:solidFill>
              <a:schemeClr val="accent5"/>
            </a:solidFill>
            <a:miter lim="800000"/>
            <a:headEnd/>
            <a:tailEnd/>
          </a:ln>
          <a:effectLst/>
        </p:spPr>
        <p:txBody>
          <a:bodyPr wrap="square" lIns="252000" tIns="0" rIns="72000" bIns="0" anchor="ctr">
            <a:noAutofit/>
          </a:bodyPr>
          <a:lstStyle/>
          <a:p>
            <a:pPr lvl="0">
              <a:buClr>
                <a:srgbClr val="000000"/>
              </a:buClr>
              <a:defRPr/>
            </a:pPr>
            <a:r>
              <a:rPr lang="en-US" altLang="zh-CN" sz="1600" b="1" dirty="0">
                <a:solidFill>
                  <a:srgbClr val="03522D"/>
                </a:solidFill>
                <a:sym typeface="Futura"/>
              </a:rPr>
              <a:t>{bullet_5}</a:t>
            </a:r>
          </a:p>
          <a:p>
            <a:pPr lvl="0" defTabSz="1087636">
              <a:defRPr/>
            </a:pPr>
            <a:r>
              <a:rPr lang="en-US" altLang="zh-CN" sz="1400" dirty="0">
                <a:solidFill>
                  <a:srgbClr val="575757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{bullet_5_content,max_token-30}</a:t>
            </a:r>
          </a:p>
        </p:txBody>
      </p:sp>
      <p:sp>
        <p:nvSpPr>
          <p:cNvPr id="19" name="Freihandform 50">
            <a:extLst>
              <a:ext uri="{FF2B5EF4-FFF2-40B4-BE49-F238E27FC236}">
                <a16:creationId xmlns:a16="http://schemas.microsoft.com/office/drawing/2014/main" id="{DA7A6F30-52DE-87BF-6B5E-19FE610C366D}"/>
              </a:ext>
            </a:extLst>
          </p:cNvPr>
          <p:cNvSpPr>
            <a:spLocks/>
          </p:cNvSpPr>
          <p:nvPr/>
        </p:nvSpPr>
        <p:spPr bwMode="auto">
          <a:xfrm>
            <a:off x="4226402" y="4607603"/>
            <a:ext cx="7524952" cy="686301"/>
          </a:xfrm>
          <a:custGeom>
            <a:avLst/>
            <a:gdLst>
              <a:gd name="connsiteX0" fmla="*/ 94698 w 6401954"/>
              <a:gd name="connsiteY0" fmla="*/ 0 h 731500"/>
              <a:gd name="connsiteX1" fmla="*/ 6401954 w 6401954"/>
              <a:gd name="connsiteY1" fmla="*/ 0 h 731500"/>
              <a:gd name="connsiteX2" fmla="*/ 6401954 w 6401954"/>
              <a:gd name="connsiteY2" fmla="*/ 731500 h 731500"/>
              <a:gd name="connsiteX3" fmla="*/ 0 w 6401954"/>
              <a:gd name="connsiteY3" fmla="*/ 731500 h 731500"/>
              <a:gd name="connsiteX0" fmla="*/ 100012 w 6407268"/>
              <a:gd name="connsiteY0" fmla="*/ 0 h 737681"/>
              <a:gd name="connsiteX1" fmla="*/ 6407268 w 6407268"/>
              <a:gd name="connsiteY1" fmla="*/ 0 h 737681"/>
              <a:gd name="connsiteX2" fmla="*/ 6407268 w 6407268"/>
              <a:gd name="connsiteY2" fmla="*/ 731500 h 737681"/>
              <a:gd name="connsiteX3" fmla="*/ 0 w 6407268"/>
              <a:gd name="connsiteY3" fmla="*/ 737681 h 737681"/>
              <a:gd name="connsiteX4" fmla="*/ 100012 w 6407268"/>
              <a:gd name="connsiteY4" fmla="*/ 0 h 737681"/>
              <a:gd name="connsiteX0" fmla="*/ 97355 w 6404611"/>
              <a:gd name="connsiteY0" fmla="*/ 0 h 731500"/>
              <a:gd name="connsiteX1" fmla="*/ 6404611 w 6404611"/>
              <a:gd name="connsiteY1" fmla="*/ 0 h 731500"/>
              <a:gd name="connsiteX2" fmla="*/ 6404611 w 6404611"/>
              <a:gd name="connsiteY2" fmla="*/ 731500 h 731500"/>
              <a:gd name="connsiteX3" fmla="*/ 0 w 6404611"/>
              <a:gd name="connsiteY3" fmla="*/ 728409 h 731500"/>
              <a:gd name="connsiteX4" fmla="*/ 97355 w 6404611"/>
              <a:gd name="connsiteY4" fmla="*/ 0 h 731500"/>
              <a:gd name="connsiteX0" fmla="*/ 90368 w 6397624"/>
              <a:gd name="connsiteY0" fmla="*/ 0 h 731500"/>
              <a:gd name="connsiteX1" fmla="*/ 6397624 w 6397624"/>
              <a:gd name="connsiteY1" fmla="*/ 0 h 731500"/>
              <a:gd name="connsiteX2" fmla="*/ 6397624 w 6397624"/>
              <a:gd name="connsiteY2" fmla="*/ 731500 h 731500"/>
              <a:gd name="connsiteX3" fmla="*/ 0 w 6397624"/>
              <a:gd name="connsiteY3" fmla="*/ 731118 h 731500"/>
              <a:gd name="connsiteX4" fmla="*/ 90368 w 6397624"/>
              <a:gd name="connsiteY4" fmla="*/ 0 h 731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97624" h="731500">
                <a:moveTo>
                  <a:pt x="90368" y="0"/>
                </a:moveTo>
                <a:lnTo>
                  <a:pt x="6397624" y="0"/>
                </a:lnTo>
                <a:lnTo>
                  <a:pt x="6397624" y="731500"/>
                </a:lnTo>
                <a:lnTo>
                  <a:pt x="0" y="731118"/>
                </a:lnTo>
                <a:cubicBezTo>
                  <a:pt x="31566" y="487285"/>
                  <a:pt x="58802" y="243833"/>
                  <a:pt x="90368" y="0"/>
                </a:cubicBezTo>
                <a:close/>
              </a:path>
            </a:pathLst>
          </a:custGeom>
          <a:noFill/>
          <a:ln w="6350">
            <a:solidFill>
              <a:schemeClr val="accent5"/>
            </a:solidFill>
            <a:miter lim="800000"/>
            <a:headEnd/>
            <a:tailEnd/>
          </a:ln>
          <a:effectLst/>
        </p:spPr>
        <p:txBody>
          <a:bodyPr wrap="square" lIns="252000" tIns="0" rIns="72000" bIns="0" anchor="ctr">
            <a:noAutofit/>
          </a:bodyPr>
          <a:lstStyle/>
          <a:p>
            <a:pPr lvl="0">
              <a:buClr>
                <a:srgbClr val="000000"/>
              </a:buClr>
              <a:defRPr/>
            </a:pPr>
            <a:r>
              <a:rPr lang="en-US" altLang="zh-CN" sz="1600" b="1" dirty="0">
                <a:solidFill>
                  <a:srgbClr val="03522D"/>
                </a:solidFill>
                <a:sym typeface="Futura"/>
              </a:rPr>
              <a:t>{bullet_2}</a:t>
            </a:r>
          </a:p>
          <a:p>
            <a:pPr lvl="0" defTabSz="1087636">
              <a:defRPr/>
            </a:pPr>
            <a:r>
              <a:rPr lang="en-US" altLang="zh-CN" sz="1400" dirty="0">
                <a:solidFill>
                  <a:srgbClr val="575757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{bullet_2_content,max_token-30}</a:t>
            </a:r>
          </a:p>
        </p:txBody>
      </p:sp>
      <p:sp>
        <p:nvSpPr>
          <p:cNvPr id="12" name="Rectangle 5">
            <a:extLst>
              <a:ext uri="{FF2B5EF4-FFF2-40B4-BE49-F238E27FC236}">
                <a16:creationId xmlns:a16="http://schemas.microsoft.com/office/drawing/2014/main" id="{90277B68-2FC3-C207-12DF-A8852BF2F57E}"/>
              </a:ext>
            </a:extLst>
          </p:cNvPr>
          <p:cNvSpPr>
            <a:spLocks/>
          </p:cNvSpPr>
          <p:nvPr/>
        </p:nvSpPr>
        <p:spPr bwMode="auto">
          <a:xfrm>
            <a:off x="407988" y="1557339"/>
            <a:ext cx="3447732" cy="4500560"/>
          </a:xfrm>
          <a:custGeom>
            <a:avLst/>
            <a:gdLst>
              <a:gd name="connsiteX0" fmla="*/ 0 w 2805290"/>
              <a:gd name="connsiteY0" fmla="*/ 0 h 4330699"/>
              <a:gd name="connsiteX1" fmla="*/ 2805290 w 2805290"/>
              <a:gd name="connsiteY1" fmla="*/ 0 h 4330699"/>
              <a:gd name="connsiteX2" fmla="*/ 2805290 w 2805290"/>
              <a:gd name="connsiteY2" fmla="*/ 4330699 h 4330699"/>
              <a:gd name="connsiteX3" fmla="*/ 0 w 2805290"/>
              <a:gd name="connsiteY3" fmla="*/ 4330699 h 4330699"/>
              <a:gd name="connsiteX4" fmla="*/ 0 w 2805290"/>
              <a:gd name="connsiteY4" fmla="*/ 0 h 4330699"/>
              <a:gd name="connsiteX0" fmla="*/ 0 w 2805290"/>
              <a:gd name="connsiteY0" fmla="*/ 0 h 4330699"/>
              <a:gd name="connsiteX1" fmla="*/ 2805290 w 2805290"/>
              <a:gd name="connsiteY1" fmla="*/ 0 h 4330699"/>
              <a:gd name="connsiteX2" fmla="*/ 1677529 w 2805290"/>
              <a:gd name="connsiteY2" fmla="*/ 4330699 h 4330699"/>
              <a:gd name="connsiteX3" fmla="*/ 0 w 2805290"/>
              <a:gd name="connsiteY3" fmla="*/ 4330699 h 4330699"/>
              <a:gd name="connsiteX4" fmla="*/ 0 w 2805290"/>
              <a:gd name="connsiteY4" fmla="*/ 0 h 43306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05290" h="4330699">
                <a:moveTo>
                  <a:pt x="0" y="0"/>
                </a:moveTo>
                <a:lnTo>
                  <a:pt x="2805290" y="0"/>
                </a:lnTo>
                <a:lnTo>
                  <a:pt x="1677529" y="4330699"/>
                </a:lnTo>
                <a:lnTo>
                  <a:pt x="0" y="4330699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6350">
            <a:noFill/>
            <a:miter lim="800000"/>
            <a:headEnd/>
            <a:tailEnd/>
          </a:ln>
          <a:effectLst/>
        </p:spPr>
        <p:txBody>
          <a:bodyPr lIns="216000" tIns="144000" rIns="216000" bIns="0" anchor="t"/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summary}</a:t>
            </a:r>
          </a:p>
        </p:txBody>
      </p:sp>
      <p:sp>
        <p:nvSpPr>
          <p:cNvPr id="7" name="Text Placeholder 15">
            <a:extLst>
              <a:ext uri="{FF2B5EF4-FFF2-40B4-BE49-F238E27FC236}">
                <a16:creationId xmlns:a16="http://schemas.microsoft.com/office/drawing/2014/main" id="{D435FDA7-54F7-5FB4-9063-6A05C640EC61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510850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block, process, processes, step, steps, phase, phases, stage, stages</a:t>
            </a:r>
          </a:p>
        </p:txBody>
      </p:sp>
    </p:spTree>
    <p:extLst>
      <p:ext uri="{BB962C8B-B14F-4D97-AF65-F5344CB8AC3E}">
        <p14:creationId xmlns:p14="http://schemas.microsoft.com/office/powerpoint/2010/main" val="17476840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127</Words>
  <Application>Microsoft Office PowerPoint</Application>
  <PresentationFormat>宽屏</PresentationFormat>
  <Paragraphs>21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1" baseType="lpstr">
      <vt:lpstr>Futura</vt:lpstr>
      <vt:lpstr>LiciumFont 2022 Bold</vt:lpstr>
      <vt:lpstr>Open Sans Light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9T02:00:18Z</dcterms:created>
  <dcterms:modified xsi:type="dcterms:W3CDTF">2025-09-09T02:01:20Z</dcterms:modified>
</cp:coreProperties>
</file>